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20"/>
  </p:notesMasterIdLst>
  <p:handoutMasterIdLst>
    <p:handoutMasterId r:id="rId21"/>
  </p:handoutMasterIdLst>
  <p:sldIdLst>
    <p:sldId id="1043" r:id="rId6"/>
    <p:sldId id="1001" r:id="rId7"/>
    <p:sldId id="1007" r:id="rId8"/>
    <p:sldId id="1008" r:id="rId9"/>
    <p:sldId id="276" r:id="rId10"/>
    <p:sldId id="1049" r:id="rId11"/>
    <p:sldId id="1039" r:id="rId12"/>
    <p:sldId id="265" r:id="rId13"/>
    <p:sldId id="1033" r:id="rId14"/>
    <p:sldId id="261" r:id="rId15"/>
    <p:sldId id="266" r:id="rId16"/>
    <p:sldId id="1050" r:id="rId17"/>
    <p:sldId id="1027" r:id="rId18"/>
    <p:sldId id="1028" r:id="rId19"/>
  </p:sldIdLst>
  <p:sldSz cx="12192000" cy="6858000"/>
  <p:notesSz cx="6858000" cy="9144000"/>
  <p:embeddedFontLst>
    <p:embeddedFont>
      <p:font typeface="Ubuntu" panose="020B0604020202020204" charset="0"/>
      <p:regular r:id="rId22"/>
      <p:bold r:id="rId23"/>
      <p:italic r:id="rId24"/>
      <p:boldItalic r:id="rId25"/>
    </p:embeddedFont>
    <p:embeddedFont>
      <p:font typeface="Ubuntu Medium" panose="020B0604030602030204" charset="0"/>
      <p:regular r:id="rId26"/>
      <p:italic r:id="rId27"/>
    </p:embeddedFont>
  </p:embeddedFontLst>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0A3D"/>
    <a:srgbClr val="A6A6A6"/>
    <a:srgbClr val="FFDA80"/>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BDD4B6-A824-4960-9AB6-82F2622D97F0}" v="2367" dt="2021-08-02T10:20:40.9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6991" autoAdjust="0"/>
    <p:restoredTop sz="95789" autoAdjust="0"/>
  </p:normalViewPr>
  <p:slideViewPr>
    <p:cSldViewPr>
      <p:cViewPr>
        <p:scale>
          <a:sx n="90" d="100"/>
          <a:sy n="90" d="100"/>
        </p:scale>
        <p:origin x="432" y="135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viewProps" Target="viewProp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2/08/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2/08/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8.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5.png"/><Relationship Id="rId17" Type="http://schemas.openxmlformats.org/officeDocument/2006/relationships/image" Target="../media/image2.png"/><Relationship Id="rId2" Type="http://schemas.openxmlformats.org/officeDocument/2006/relationships/tags" Target="../tags/tag7.xml"/><Relationship Id="rId16" Type="http://schemas.openxmlformats.org/officeDocument/2006/relationships/image" Target="../media/image7.png"/><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0424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43140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199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8220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C – Wide">
    <p:spTree>
      <p:nvGrpSpPr>
        <p:cNvPr id="1" name=""/>
        <p:cNvGrpSpPr/>
        <p:nvPr/>
      </p:nvGrpSpPr>
      <p:grpSpPr>
        <a:xfrm>
          <a:off x="0" y="0"/>
          <a:ext cx="0" cy="0"/>
          <a:chOff x="0" y="0"/>
          <a:chExt cx="0" cy="0"/>
        </a:xfrm>
      </p:grpSpPr>
      <p:pic>
        <p:nvPicPr>
          <p:cNvPr id="16" name="Picture 6">
            <a:extLst>
              <a:ext uri="{FF2B5EF4-FFF2-40B4-BE49-F238E27FC236}">
                <a16:creationId xmlns:a16="http://schemas.microsoft.com/office/drawing/2014/main" id="{B313E9A5-8927-4424-8200-0B40A5FE0D8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bwMode="ltGray">
          <a:xfrm>
            <a:off x="0" y="0"/>
            <a:ext cx="12192000" cy="6858000"/>
          </a:xfrm>
          <a:prstGeom prst="rect">
            <a:avLst/>
          </a:prstGeom>
        </p:spPr>
      </p:pic>
      <p:sp>
        <p:nvSpPr>
          <p:cNvPr id="13" name="Rectangle 12">
            <a:extLst>
              <a:ext uri="{FF2B5EF4-FFF2-40B4-BE49-F238E27FC236}">
                <a16:creationId xmlns:a16="http://schemas.microsoft.com/office/drawing/2014/main" id="{11AD9EEC-2F0C-454C-A5B2-F57FD7AAED4C}"/>
              </a:ext>
            </a:extLst>
          </p:cNvPr>
          <p:cNvSpPr/>
          <p:nvPr userDrawn="1"/>
        </p:nvSpPr>
        <p:spPr bwMode="white">
          <a:xfrm>
            <a:off x="2679031" y="-1"/>
            <a:ext cx="9512969" cy="6858001"/>
          </a:xfrm>
          <a:prstGeom prst="rect">
            <a:avLst/>
          </a:prstGeom>
          <a:solidFill>
            <a:srgbClr val="3281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auto">
          <a:xfrm>
            <a:off x="3359696" y="2095351"/>
            <a:ext cx="5781098" cy="39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lvl1pPr algn="l">
              <a:lnSpc>
                <a:spcPts val="3100"/>
              </a:lnSpc>
              <a:defRPr lang="en-US" sz="3200" b="1" cap="all" baseline="0" dirty="0">
                <a:solidFill>
                  <a:schemeClr val="bg1"/>
                </a:solidFill>
                <a:latin typeface="Ubuntu" panose="020B0504030602030204" pitchFamily="34" charset="0"/>
              </a:defRPr>
            </a:lvl1pPr>
          </a:lstStyle>
          <a:p>
            <a:pPr marL="0" lvl="0"/>
            <a:r>
              <a:rPr lang="en-US" dirty="0"/>
              <a:t>SECTION TITLE ALL CAPS</a:t>
            </a:r>
          </a:p>
        </p:txBody>
      </p:sp>
      <p:sp>
        <p:nvSpPr>
          <p:cNvPr id="9" name="Text Placeholder 8">
            <a:extLst>
              <a:ext uri="{FF2B5EF4-FFF2-40B4-BE49-F238E27FC236}">
                <a16:creationId xmlns:a16="http://schemas.microsoft.com/office/drawing/2014/main" id="{F874BF17-775B-4C09-81B2-C8403E37CEBE}"/>
              </a:ext>
            </a:extLst>
          </p:cNvPr>
          <p:cNvSpPr>
            <a:spLocks noGrp="1"/>
          </p:cNvSpPr>
          <p:nvPr>
            <p:ph type="body" sz="quarter" idx="11" hasCustomPrompt="1"/>
          </p:nvPr>
        </p:nvSpPr>
        <p:spPr>
          <a:xfrm>
            <a:off x="3359696" y="3713163"/>
            <a:ext cx="5781098" cy="2809875"/>
          </a:xfrm>
          <a:prstGeom prst="rect">
            <a:avLst/>
          </a:prstGeom>
        </p:spPr>
        <p:txBody>
          <a:bodyPr lIns="0" tIns="0" rIns="0" bIns="0"/>
          <a:lstStyle>
            <a:lvl1pPr marL="0" indent="0">
              <a:lnSpc>
                <a:spcPct val="110000"/>
              </a:lnSpc>
              <a:buNone/>
              <a:defRPr sz="1800">
                <a:solidFill>
                  <a:schemeClr val="bg1"/>
                </a:solidFill>
                <a:latin typeface="Ubuntu" panose="020B0504030602030204" pitchFamily="34" charset="0"/>
              </a:defRPr>
            </a:lvl1pPr>
          </a:lstStyle>
          <a:p>
            <a:pPr lvl="0"/>
            <a:r>
              <a:rPr lang="en-US" dirty="0"/>
              <a:t>Short chapter description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a:t>
            </a:r>
            <a:r>
              <a:rPr lang="en-US" dirty="0"/>
              <a:t>.</a:t>
            </a:r>
            <a:endParaRPr lang="en-GB" dirty="0"/>
          </a:p>
        </p:txBody>
      </p:sp>
      <p:sp>
        <p:nvSpPr>
          <p:cNvPr id="5" name="Text Placeholder 4">
            <a:extLst>
              <a:ext uri="{FF2B5EF4-FFF2-40B4-BE49-F238E27FC236}">
                <a16:creationId xmlns:a16="http://schemas.microsoft.com/office/drawing/2014/main" id="{2545FEED-D34C-429E-92B0-734C0A2CAA82}"/>
              </a:ext>
            </a:extLst>
          </p:cNvPr>
          <p:cNvSpPr>
            <a:spLocks noGrp="1"/>
          </p:cNvSpPr>
          <p:nvPr>
            <p:ph type="body" sz="quarter" idx="10" hasCustomPrompt="1"/>
          </p:nvPr>
        </p:nvSpPr>
        <p:spPr>
          <a:xfrm>
            <a:off x="3359696" y="3144837"/>
            <a:ext cx="5781098" cy="476845"/>
          </a:xfrm>
          <a:prstGeom prst="rect">
            <a:avLst/>
          </a:prstGeom>
        </p:spPr>
        <p:txBody>
          <a:bodyPr lIns="0" tIns="0" rIns="0" bIns="0"/>
          <a:lstStyle>
            <a:lvl1pPr marL="0" indent="0">
              <a:buNone/>
              <a:defRPr sz="2400" cap="all" baseline="0">
                <a:solidFill>
                  <a:srgbClr val="17333F"/>
                </a:solidFill>
                <a:latin typeface="Ubuntu" panose="020B0504030602030204" pitchFamily="34" charset="0"/>
              </a:defRPr>
            </a:lvl1pPr>
            <a:lvl5pPr>
              <a:defRPr/>
            </a:lvl5pPr>
          </a:lstStyle>
          <a:p>
            <a:pPr lvl="0"/>
            <a:r>
              <a:rPr lang="en-US" dirty="0"/>
              <a:t>SECTION SUBTITLE ALL CAPs</a:t>
            </a:r>
            <a:endParaRPr lang="en-GB" dirty="0"/>
          </a:p>
        </p:txBody>
      </p:sp>
      <p:grpSp>
        <p:nvGrpSpPr>
          <p:cNvPr id="8" name="Group 37">
            <a:extLst>
              <a:ext uri="{FF2B5EF4-FFF2-40B4-BE49-F238E27FC236}">
                <a16:creationId xmlns:a16="http://schemas.microsoft.com/office/drawing/2014/main" id="{89B4162E-9D70-4209-8DF4-1DED4106593B}"/>
              </a:ext>
            </a:extLst>
          </p:cNvPr>
          <p:cNvGrpSpPr/>
          <p:nvPr userDrawn="1"/>
        </p:nvGrpSpPr>
        <p:grpSpPr>
          <a:xfrm>
            <a:off x="11559747" y="210928"/>
            <a:ext cx="413177" cy="382296"/>
            <a:chOff x="5481638" y="2859088"/>
            <a:chExt cx="1231900" cy="1139825"/>
          </a:xfrm>
          <a:solidFill>
            <a:schemeClr val="bg1"/>
          </a:solidFill>
        </p:grpSpPr>
        <p:sp>
          <p:nvSpPr>
            <p:cNvPr id="10" name="Freeform 320">
              <a:extLst>
                <a:ext uri="{FF2B5EF4-FFF2-40B4-BE49-F238E27FC236}">
                  <a16:creationId xmlns:a16="http://schemas.microsoft.com/office/drawing/2014/main" id="{0DC7C616-15E8-4116-9F0B-2B12EA97341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321">
              <a:extLst>
                <a:ext uri="{FF2B5EF4-FFF2-40B4-BE49-F238E27FC236}">
                  <a16:creationId xmlns:a16="http://schemas.microsoft.com/office/drawing/2014/main" id="{8CD5D6CE-DA21-4029-90DF-6FD0FE6AC0B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957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7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500"/>
                                        <p:tgtEl>
                                          <p:spTgt spid="13"/>
                                        </p:tgtEl>
                                      </p:cBhvr>
                                    </p:animEffect>
                                  </p:childTnLst>
                                </p:cTn>
                              </p:par>
                              <p:par>
                                <p:cTn id="11" presetID="63" presetClass="path" presetSubtype="0" decel="100000" fill="hold" grpId="0" nodeType="withEffect">
                                  <p:stCondLst>
                                    <p:cond delay="1000"/>
                                  </p:stCondLst>
                                  <p:childTnLst>
                                    <p:animMotion origin="layout" path="M -0.05938 0 L 4.16667E-6 0 " pathEditMode="relative" rAng="0" ptsTypes="AA">
                                      <p:cBhvr>
                                        <p:cTn id="12" dur="1500" fill="hold"/>
                                        <p:tgtEl>
                                          <p:spTgt spid="13"/>
                                        </p:tgtEl>
                                        <p:attrNameLst>
                                          <p:attrName>ppt_x</p:attrName>
                                          <p:attrName>ppt_y</p:attrName>
                                        </p:attrNameLst>
                                      </p:cBhvr>
                                      <p:rCtr x="2969" y="0"/>
                                    </p:animMotion>
                                  </p:childTnLst>
                                </p:cTn>
                              </p:par>
                              <p:par>
                                <p:cTn id="13" presetID="10" presetClass="entr" presetSubtype="0" fill="hold" grpId="0" nodeType="withEffect">
                                  <p:stCondLst>
                                    <p:cond delay="2500"/>
                                  </p:stCondLst>
                                  <p:iterate type="wd">
                                    <p:tmPct val="16667"/>
                                  </p:iterate>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64" presetClass="path" presetSubtype="0" decel="100000" fill="hold" grpId="1" nodeType="withEffect">
                                  <p:stCondLst>
                                    <p:cond delay="2500"/>
                                  </p:stCondLst>
                                  <p:iterate type="wd">
                                    <p:tmPct val="16667"/>
                                  </p:iterate>
                                  <p:childTnLst>
                                    <p:animMotion origin="layout" path="M -4.16667E-6 0.02616 L -4.16667E-6 -4.81481E-6 " pathEditMode="relative" rAng="0" ptsTypes="AA">
                                      <p:cBhvr>
                                        <p:cTn id="17" dur="500" fill="hold"/>
                                        <p:tgtEl>
                                          <p:spTgt spid="5"/>
                                        </p:tgtEl>
                                        <p:attrNameLst>
                                          <p:attrName>ppt_x</p:attrName>
                                          <p:attrName>ppt_y</p:attrName>
                                        </p:attrNameLst>
                                      </p:cBhvr>
                                      <p:rCtr x="0" y="-1319"/>
                                    </p:animMotion>
                                  </p:childTnLst>
                                </p:cTn>
                              </p:par>
                              <p:par>
                                <p:cTn id="18" presetID="10" presetClass="entr" presetSubtype="0" fill="hold" grpId="0" nodeType="withEffect">
                                  <p:stCondLst>
                                    <p:cond delay="340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childTnLst>
                                </p:cTn>
                              </p:par>
                              <p:par>
                                <p:cTn id="21" presetID="10" presetClass="entr" presetSubtype="0" fill="hold" nodeType="withEffect">
                                  <p:stCondLst>
                                    <p:cond delay="2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150"/>
                                        <p:tgtEl>
                                          <p:spTgt spid="16"/>
                                        </p:tgtEl>
                                      </p:cBhvr>
                                    </p:animEffect>
                                  </p:childTnLst>
                                </p:cTn>
                              </p:par>
                              <p:par>
                                <p:cTn id="24" presetID="6" presetClass="emph" presetSubtype="0" fill="hold" nodeType="withEffect">
                                  <p:stCondLst>
                                    <p:cond delay="0"/>
                                  </p:stCondLst>
                                  <p:childTnLst>
                                    <p:animScale>
                                      <p:cBhvr>
                                        <p:cTn id="25" dur="150" fill="hold"/>
                                        <p:tgtEl>
                                          <p:spTgt spid="16"/>
                                        </p:tgtEl>
                                      </p:cBhvr>
                                      <p:by x="110000" y="110000"/>
                                    </p:animScale>
                                  </p:childTnLst>
                                </p:cTn>
                              </p:par>
                              <p:par>
                                <p:cTn id="26" presetID="6" presetClass="emph" presetSubtype="0" decel="100000" fill="hold" nodeType="withEffect">
                                  <p:stCondLst>
                                    <p:cond delay="200"/>
                                  </p:stCondLst>
                                  <p:childTnLst>
                                    <p:animScale>
                                      <p:cBhvr>
                                        <p:cTn id="27" dur="3450" fill="hold"/>
                                        <p:tgtEl>
                                          <p:spTgt spid="16"/>
                                        </p:tgtEl>
                                      </p:cBhvr>
                                      <p:by x="90990" y="9099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9" grpId="0" build="p">
        <p:tmplLst>
          <p:tmpl lvl="1">
            <p:tnLst>
              <p:par>
                <p:cTn presetID="10" presetClass="entr" presetSubtype="0" fill="hold" nodeType="withEffect">
                  <p:stCondLst>
                    <p:cond delay="340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5" grpId="0">
        <p:tmplLst>
          <p:tmpl>
            <p:tnLst>
              <p:par>
                <p:cTn presetID="10" presetClass="entr" presetSubtype="0" fill="hold" nodeType="withEffect">
                  <p:stCondLst>
                    <p:cond delay="2500"/>
                  </p:stCondLst>
                  <p:iterate type="wd">
                    <p:tmPct val="16667"/>
                  </p:iterate>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64" presetClass="path" presetSubtype="0" decel="100000" fill="hold" nodeType="withEffect">
                  <p:stCondLst>
                    <p:cond delay="2500"/>
                  </p:stCondLst>
                  <p:iterate type="wd">
                    <p:tmPct val="16667"/>
                  </p:iterate>
                  <p:childTnLst>
                    <p:animMotion origin="layout" path="M -4.16667E-6 0.02616 L -4.16667E-6 -4.81481E-6 " pathEditMode="relative" rAng="0" ptsTypes="AA">
                      <p:cBhvr>
                        <p:cTn dur="500" fill="hold"/>
                        <p:tgtEl>
                          <p:spTgt spid="5"/>
                        </p:tgtEl>
                        <p:attrNameLst>
                          <p:attrName>ppt_x</p:attrName>
                          <p:attrName>ppt_y</p:attrName>
                        </p:attrNameLst>
                      </p:cBhvr>
                      <p:rCtr x="0" y="-1319"/>
                    </p:animMotion>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1" r:id="rId15"/>
    <p:sldLayoutId id="2147483933" r:id="rId16"/>
    <p:sldLayoutId id="2147483934" r:id="rId17"/>
    <p:sldLayoutId id="2147483961" r:id="rId18"/>
    <p:sldLayoutId id="2147483958" r:id="rId19"/>
    <p:sldLayoutId id="2147483951" r:id="rId20"/>
    <p:sldLayoutId id="2147483959" r:id="rId21"/>
    <p:sldLayoutId id="2147483918" r:id="rId22"/>
    <p:sldLayoutId id="2147483922" r:id="rId23"/>
    <p:sldLayoutId id="2147483950" r:id="rId24"/>
    <p:sldLayoutId id="214748395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27" r:id="rId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
        <p:nvSpPr>
          <p:cNvPr id="2" name="Subtitle 1">
            <a:extLst>
              <a:ext uri="{FF2B5EF4-FFF2-40B4-BE49-F238E27FC236}">
                <a16:creationId xmlns:a16="http://schemas.microsoft.com/office/drawing/2014/main" id="{F1DFDA52-C0F0-45D2-A8E6-81F969C00184}"/>
              </a:ext>
            </a:extLst>
          </p:cNvPr>
          <p:cNvSpPr>
            <a:spLocks noGrp="1"/>
          </p:cNvSpPr>
          <p:nvPr>
            <p:ph type="subTitle" idx="1"/>
          </p:nvPr>
        </p:nvSpPr>
        <p:spPr>
          <a:xfrm>
            <a:off x="404813" y="4561383"/>
            <a:ext cx="11386134" cy="1077218"/>
          </a:xfrm>
        </p:spPr>
        <p:txBody>
          <a:bodyPr vert="horz" wrap="square" lIns="36000" tIns="0" rIns="36000" bIns="0" rtlCol="0" anchor="t">
            <a:spAutoFit/>
          </a:bodyPr>
          <a:lstStyle/>
          <a:p>
            <a:r>
              <a:rPr lang="en-GB" dirty="0">
                <a:latin typeface="Ubuntu"/>
              </a:rPr>
              <a:t>By : </a:t>
            </a:r>
            <a:r>
              <a:rPr lang="en-GB" dirty="0" err="1">
                <a:latin typeface="Ubuntu"/>
              </a:rPr>
              <a:t>Shabduli</a:t>
            </a:r>
            <a:r>
              <a:rPr lang="en-GB" dirty="0">
                <a:latin typeface="Ubuntu"/>
              </a:rPr>
              <a:t> </a:t>
            </a:r>
            <a:r>
              <a:rPr lang="en-GB" dirty="0" err="1">
                <a:latin typeface="Ubuntu"/>
              </a:rPr>
              <a:t>Durge</a:t>
            </a:r>
            <a:r>
              <a:rPr lang="en-GB" dirty="0">
                <a:latin typeface="Ubuntu"/>
              </a:rPr>
              <a:t>.</a:t>
            </a:r>
          </a:p>
          <a:p>
            <a:r>
              <a:rPr lang="en-GB" dirty="0" err="1">
                <a:latin typeface="Ubuntu"/>
              </a:rPr>
              <a:t>Devops</a:t>
            </a:r>
            <a:r>
              <a:rPr lang="en-GB" dirty="0">
                <a:latin typeface="Ubuntu"/>
              </a:rPr>
              <a:t> Batch 3</a:t>
            </a:r>
          </a:p>
          <a:p>
            <a:r>
              <a:rPr lang="en-GB" dirty="0">
                <a:latin typeface="Ubuntu"/>
              </a:rPr>
              <a:t>Fresher Pool-2021</a:t>
            </a:r>
            <a:endParaRPr lang="en-GB" dirty="0"/>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latin typeface="Ubuntu"/>
              </a:rPr>
              <a:t>Introduction to git and </a:t>
            </a:r>
            <a:r>
              <a:rPr lang="en-GB" dirty="0" err="1">
                <a:latin typeface="Ubuntu"/>
              </a:rPr>
              <a:t>github</a:t>
            </a:r>
            <a:endParaRPr lang="en-GB" dirty="0" err="1"/>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97E0179-E525-4405-BDCD-7801877E0A51}"/>
              </a:ext>
            </a:extLst>
          </p:cNvPr>
          <p:cNvSpPr txBox="1"/>
          <p:nvPr/>
        </p:nvSpPr>
        <p:spPr>
          <a:xfrm>
            <a:off x="-40301" y="274290"/>
            <a:ext cx="6696075" cy="3154710"/>
          </a:xfrm>
          <a:prstGeom prst="rect">
            <a:avLst/>
          </a:prstGeom>
          <a:noFill/>
        </p:spPr>
        <p:txBody>
          <a:bodyPr wrap="square" lIns="91440" tIns="45720" rIns="91440" bIns="45720" anchor="t">
            <a:spAutoFit/>
          </a:bodyPr>
          <a:lstStyle/>
          <a:p>
            <a:pPr algn="ctr"/>
            <a:r>
              <a:rPr lang="en-GB" sz="19900" b="1" dirty="0">
                <a:solidFill>
                  <a:srgbClr val="12ACDC"/>
                </a:solidFill>
                <a:latin typeface="Ubuntu"/>
              </a:rPr>
              <a:t>90</a:t>
            </a:r>
            <a:r>
              <a:rPr lang="en-GB" sz="19900" b="1" i="0" u="none" strike="noStrike" baseline="0" dirty="0">
                <a:solidFill>
                  <a:srgbClr val="12ACDC"/>
                </a:solidFill>
                <a:latin typeface="Ubuntu"/>
              </a:rPr>
              <a:t>%</a:t>
            </a:r>
            <a:endParaRPr lang="en-GB" sz="3200" b="1" dirty="0">
              <a:latin typeface="Ubuntu"/>
            </a:endParaRPr>
          </a:p>
        </p:txBody>
      </p:sp>
      <p:sp>
        <p:nvSpPr>
          <p:cNvPr id="9" name="TextBox 8">
            <a:extLst>
              <a:ext uri="{FF2B5EF4-FFF2-40B4-BE49-F238E27FC236}">
                <a16:creationId xmlns:a16="http://schemas.microsoft.com/office/drawing/2014/main" id="{81A790AD-9AC6-45A8-A6F4-7CC5EC9D86BF}"/>
              </a:ext>
            </a:extLst>
          </p:cNvPr>
          <p:cNvSpPr txBox="1"/>
          <p:nvPr/>
        </p:nvSpPr>
        <p:spPr>
          <a:xfrm>
            <a:off x="1051899" y="3272771"/>
            <a:ext cx="4511675" cy="830997"/>
          </a:xfrm>
          <a:prstGeom prst="rect">
            <a:avLst/>
          </a:prstGeom>
          <a:noFill/>
        </p:spPr>
        <p:txBody>
          <a:bodyPr wrap="square" lIns="91440" tIns="45720" rIns="91440" bIns="45720" rtlCol="0" anchor="t">
            <a:spAutoFit/>
          </a:bodyPr>
          <a:lstStyle/>
          <a:p>
            <a:pPr algn="ctr"/>
            <a:r>
              <a:rPr lang="en-GB" sz="2400" dirty="0">
                <a:solidFill>
                  <a:schemeClr val="bg1"/>
                </a:solidFill>
                <a:latin typeface="Ubuntu"/>
              </a:rPr>
              <a:t>Git operations Are performed offline</a:t>
            </a:r>
          </a:p>
        </p:txBody>
      </p:sp>
      <p:sp>
        <p:nvSpPr>
          <p:cNvPr id="11" name="Graphic 1">
            <a:extLst>
              <a:ext uri="{FF2B5EF4-FFF2-40B4-BE49-F238E27FC236}">
                <a16:creationId xmlns:a16="http://schemas.microsoft.com/office/drawing/2014/main" id="{36E561D7-15D0-4E09-BAF0-0E0ABC4FFA39}"/>
              </a:ext>
            </a:extLst>
          </p:cNvPr>
          <p:cNvSpPr/>
          <p:nvPr/>
        </p:nvSpPr>
        <p:spPr>
          <a:xfrm>
            <a:off x="3719736" y="1470869"/>
            <a:ext cx="12238441" cy="5542796"/>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89000">
                <a:schemeClr val="accent2">
                  <a:alpha val="0"/>
                </a:schemeClr>
              </a:gs>
              <a:gs pos="11000">
                <a:schemeClr val="accent2">
                  <a:alpha val="0"/>
                </a:schemeClr>
              </a:gs>
              <a:gs pos="64000">
                <a:srgbClr val="12ABDB"/>
              </a:gs>
              <a:gs pos="36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32572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solidFill>
            <a:schemeClr val="bg2"/>
          </a:solidFill>
        </p:spPr>
        <p:txBody>
          <a:bodyPr vert="horz" lIns="91440" tIns="108000" rIns="0" bIns="0" rtlCol="0" anchor="t">
            <a:noAutofit/>
          </a:bodyPr>
          <a:lstStyle/>
          <a:p>
            <a:endParaRPr lang="en-GB" dirty="0"/>
          </a:p>
          <a:p>
            <a:pPr lvl="1"/>
            <a:r>
              <a:rPr lang="en-GB">
                <a:latin typeface="Ubuntu"/>
              </a:rPr>
              <a:t>It is a source code management with version control</a:t>
            </a:r>
            <a:endParaRPr lang="en-GB" dirty="0"/>
          </a:p>
          <a:p>
            <a:pPr lvl="1"/>
            <a:r>
              <a:rPr lang="en-GB">
                <a:latin typeface="Ubuntu"/>
              </a:rPr>
              <a:t>It is a software</a:t>
            </a:r>
            <a:endParaRPr lang="en-GB" dirty="0"/>
          </a:p>
          <a:p>
            <a:pPr lvl="1">
              <a:buClr>
                <a:srgbClr val="0070AD"/>
              </a:buClr>
            </a:pPr>
            <a:r>
              <a:rPr lang="en-GB">
                <a:latin typeface="Ubuntu"/>
              </a:rPr>
              <a:t>Git is a command line tool</a:t>
            </a:r>
            <a:endParaRPr lang="en-GB" dirty="0"/>
          </a:p>
          <a:p>
            <a:pPr lvl="1">
              <a:buClr>
                <a:srgbClr val="0070AD"/>
              </a:buClr>
            </a:pPr>
            <a:r>
              <a:rPr lang="en-GB">
                <a:latin typeface="Ubuntu"/>
              </a:rPr>
              <a:t>Git is maintained by linux</a:t>
            </a:r>
            <a:endParaRPr lang="en-GB" dirty="0"/>
          </a:p>
          <a:p>
            <a:pPr lvl="1">
              <a:buClr>
                <a:srgbClr val="0070AD"/>
              </a:buClr>
            </a:pPr>
            <a:r>
              <a:rPr lang="en-GB">
                <a:latin typeface="Ubuntu"/>
              </a:rPr>
              <a:t>Focus is on version control and code sharing</a:t>
            </a:r>
            <a:endParaRPr lang="en-GB" dirty="0"/>
          </a:p>
          <a:p>
            <a:pPr lvl="1">
              <a:buClr>
                <a:srgbClr val="0070AD"/>
              </a:buClr>
            </a:pPr>
            <a:endParaRPr lang="en-GB"/>
          </a:p>
          <a:p>
            <a:endParaRPr lang="en-GB" dirty="0"/>
          </a:p>
        </p:txBody>
      </p:sp>
      <p:sp>
        <p:nvSpPr>
          <p:cNvPr id="6" name="Text Placeholder 5"/>
          <p:cNvSpPr>
            <a:spLocks noGrp="1"/>
          </p:cNvSpPr>
          <p:nvPr>
            <p:ph type="body" sz="quarter" idx="12"/>
          </p:nvPr>
        </p:nvSpPr>
        <p:spPr>
          <a:solidFill>
            <a:schemeClr val="accent4"/>
          </a:solidFill>
        </p:spPr>
        <p:txBody>
          <a:bodyPr lIns="91440" tIns="0" rIns="36000"/>
          <a:lstStyle/>
          <a:p>
            <a:r>
              <a:rPr lang="en-GB">
                <a:latin typeface="Ubuntu"/>
              </a:rPr>
              <a:t>Git </a:t>
            </a:r>
            <a:endParaRPr lang="en-GB" dirty="0"/>
          </a:p>
        </p:txBody>
      </p:sp>
      <p:sp>
        <p:nvSpPr>
          <p:cNvPr id="7" name="Text Placeholder 6"/>
          <p:cNvSpPr>
            <a:spLocks noGrp="1"/>
          </p:cNvSpPr>
          <p:nvPr>
            <p:ph type="body" sz="quarter" idx="13"/>
          </p:nvPr>
        </p:nvSpPr>
        <p:spPr>
          <a:solidFill>
            <a:schemeClr val="accent4"/>
          </a:solidFill>
        </p:spPr>
        <p:txBody>
          <a:bodyPr lIns="91440" tIns="0" rIns="36000"/>
          <a:lstStyle/>
          <a:p>
            <a:r>
              <a:rPr lang="en-GB">
                <a:latin typeface="Ubuntu"/>
              </a:rPr>
              <a:t>Github </a:t>
            </a:r>
            <a:endParaRPr lang="en-GB" dirty="0"/>
          </a:p>
        </p:txBody>
      </p:sp>
      <p:sp>
        <p:nvSpPr>
          <p:cNvPr id="8" name="Text Placeholder 7"/>
          <p:cNvSpPr>
            <a:spLocks noGrp="1"/>
          </p:cNvSpPr>
          <p:nvPr>
            <p:ph type="body" sz="quarter" idx="14"/>
          </p:nvPr>
        </p:nvSpPr>
        <p:spPr>
          <a:solidFill>
            <a:schemeClr val="bg2"/>
          </a:solidFill>
        </p:spPr>
        <p:txBody>
          <a:bodyPr vert="horz" lIns="91440" tIns="108000" rIns="0" bIns="0" rtlCol="0" anchor="t">
            <a:noAutofit/>
          </a:bodyPr>
          <a:lstStyle/>
          <a:p>
            <a:endParaRPr lang="en-GB" dirty="0"/>
          </a:p>
          <a:p>
            <a:pPr lvl="1"/>
            <a:r>
              <a:rPr lang="en-GB">
                <a:latin typeface="Ubuntu"/>
              </a:rPr>
              <a:t>Project management and collaboration features</a:t>
            </a:r>
            <a:endParaRPr lang="en-GB"/>
          </a:p>
          <a:p>
            <a:r>
              <a:rPr lang="en-GB">
                <a:latin typeface="Ubuntu"/>
              </a:rPr>
              <a:t>Github is a service</a:t>
            </a:r>
          </a:p>
          <a:p>
            <a:r>
              <a:rPr lang="en-GB">
                <a:latin typeface="Ubuntu"/>
              </a:rPr>
              <a:t>Github is a GUI</a:t>
            </a:r>
            <a:endParaRPr lang="en-GB" dirty="0"/>
          </a:p>
          <a:p>
            <a:r>
              <a:rPr lang="en-GB">
                <a:latin typeface="Ubuntu"/>
              </a:rPr>
              <a:t>Github is maintained by microsoft</a:t>
            </a:r>
          </a:p>
          <a:p>
            <a:r>
              <a:rPr lang="en-GB">
                <a:latin typeface="Ubuntu"/>
              </a:rPr>
              <a:t>Here the focus on the other hand is on centralized source code hosting</a:t>
            </a:r>
            <a:endParaRPr lang="en-GB" dirty="0"/>
          </a:p>
        </p:txBody>
      </p:sp>
      <p:cxnSp>
        <p:nvCxnSpPr>
          <p:cNvPr id="14" name="Straight Connector 13"/>
          <p:cNvCxnSpPr>
            <a:cxnSpLocks/>
          </p:cNvCxnSpPr>
          <p:nvPr/>
        </p:nvCxnSpPr>
        <p:spPr>
          <a:xfrm>
            <a:off x="6096000" y="2205319"/>
            <a:ext cx="0" cy="4257392"/>
          </a:xfrm>
          <a:prstGeom prst="line">
            <a:avLst/>
          </a:prstGeom>
          <a:solidFill>
            <a:schemeClr val="tx1"/>
          </a:solidFill>
          <a:ln w="2857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4ED4F6AC-1C42-44E6-874F-20F3813199AA}"/>
              </a:ext>
            </a:extLst>
          </p:cNvPr>
          <p:cNvSpPr>
            <a:spLocks noGrp="1"/>
          </p:cNvSpPr>
          <p:nvPr>
            <p:ph type="title"/>
          </p:nvPr>
        </p:nvSpPr>
        <p:spPr>
          <a:xfrm>
            <a:off x="404813" y="388188"/>
            <a:ext cx="10947772" cy="716711"/>
          </a:xfrm>
        </p:spPr>
        <p:txBody>
          <a:bodyPr/>
          <a:lstStyle/>
          <a:p>
            <a:r>
              <a:rPr lang="en-GB"/>
              <a:t>Difference between git and github</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07445B-30F6-4A81-8DC5-21B61335F613}"/>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70717E54-4E9E-4C4E-818D-1BB39F8E7F70}"/>
              </a:ext>
            </a:extLst>
          </p:cNvPr>
          <p:cNvSpPr>
            <a:spLocks noGrp="1"/>
          </p:cNvSpPr>
          <p:nvPr>
            <p:ph type="title"/>
          </p:nvPr>
        </p:nvSpPr>
        <p:spPr/>
        <p:txBody>
          <a:bodyPr/>
          <a:lstStyle/>
          <a:p>
            <a:r>
              <a:rPr lang="en-US"/>
              <a:t>Snippets of code. </a:t>
            </a:r>
          </a:p>
        </p:txBody>
      </p:sp>
      <p:pic>
        <p:nvPicPr>
          <p:cNvPr id="4" name="Picture 4" descr="Text&#10;&#10;Description automatically generated">
            <a:extLst>
              <a:ext uri="{FF2B5EF4-FFF2-40B4-BE49-F238E27FC236}">
                <a16:creationId xmlns:a16="http://schemas.microsoft.com/office/drawing/2014/main" id="{DA424F4D-90A0-4BD5-B90C-197B467D1393}"/>
              </a:ext>
            </a:extLst>
          </p:cNvPr>
          <p:cNvPicPr>
            <a:picLocks noChangeAspect="1"/>
          </p:cNvPicPr>
          <p:nvPr/>
        </p:nvPicPr>
        <p:blipFill>
          <a:blip r:embed="rId2"/>
          <a:stretch>
            <a:fillRect/>
          </a:stretch>
        </p:blipFill>
        <p:spPr>
          <a:xfrm>
            <a:off x="310552" y="1148230"/>
            <a:ext cx="11614028" cy="5467314"/>
          </a:xfrm>
          <a:prstGeom prst="rect">
            <a:avLst/>
          </a:prstGeom>
        </p:spPr>
      </p:pic>
    </p:spTree>
    <p:extLst>
      <p:ext uri="{BB962C8B-B14F-4D97-AF65-F5344CB8AC3E}">
        <p14:creationId xmlns:p14="http://schemas.microsoft.com/office/powerpoint/2010/main" val="35719285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62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347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a:latin typeface="Ubuntu"/>
              </a:rPr>
              <a:t>Introduction to git</a:t>
            </a:r>
            <a:br>
              <a:rPr lang="en-GB">
                <a:latin typeface="Ubuntu"/>
              </a:rPr>
            </a:br>
            <a:endParaRPr lang="en-GB"/>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D288803-A6C7-4081-95A5-15932004F3CE}"/>
              </a:ext>
            </a:extLst>
          </p:cNvPr>
          <p:cNvSpPr>
            <a:spLocks noGrp="1"/>
          </p:cNvSpPr>
          <p:nvPr>
            <p:ph type="ctrTitle"/>
          </p:nvPr>
        </p:nvSpPr>
        <p:spPr/>
        <p:txBody>
          <a:bodyPr/>
          <a:lstStyle/>
          <a:p>
            <a:r>
              <a:rPr lang="en-GB">
                <a:latin typeface="Ubuntu"/>
              </a:rPr>
              <a:t>What is git?</a:t>
            </a:r>
          </a:p>
        </p:txBody>
      </p:sp>
      <p:sp>
        <p:nvSpPr>
          <p:cNvPr id="8" name="Text Placeholder 7">
            <a:extLst>
              <a:ext uri="{FF2B5EF4-FFF2-40B4-BE49-F238E27FC236}">
                <a16:creationId xmlns:a16="http://schemas.microsoft.com/office/drawing/2014/main" id="{145E7C48-DD2C-40CC-B16F-A84911D789EE}"/>
              </a:ext>
            </a:extLst>
          </p:cNvPr>
          <p:cNvSpPr>
            <a:spLocks noGrp="1"/>
          </p:cNvSpPr>
          <p:nvPr>
            <p:ph type="body" sz="quarter" idx="11"/>
          </p:nvPr>
        </p:nvSpPr>
        <p:spPr/>
        <p:txBody>
          <a:bodyPr lIns="0" tIns="0" rIns="0" bIns="0" anchor="t"/>
          <a:lstStyle/>
          <a:p>
            <a:r>
              <a:rPr lang="en-GB" b="1" dirty="0">
                <a:latin typeface="Ubuntu"/>
              </a:rPr>
              <a:t>Git</a:t>
            </a:r>
            <a:r>
              <a:rPr lang="en-GB" dirty="0">
                <a:latin typeface="Ubuntu"/>
              </a:rPr>
              <a:t>  is software for tracking changes in any set of files, usually used for coordinating work among pr collaboratively developing source code during software development. Its goals include speed, data integrity, and support for distributed, non-linear workflows (thousands of parallel branches running on different systems).</a:t>
            </a:r>
            <a:endParaRPr lang="en-GB" baseline="30000" dirty="0"/>
          </a:p>
        </p:txBody>
      </p:sp>
      <p:sp>
        <p:nvSpPr>
          <p:cNvPr id="7" name="Text Placeholder 6">
            <a:extLst>
              <a:ext uri="{FF2B5EF4-FFF2-40B4-BE49-F238E27FC236}">
                <a16:creationId xmlns:a16="http://schemas.microsoft.com/office/drawing/2014/main" id="{C2D1B4CB-3D0D-4878-9D48-BBF67E5758BB}"/>
              </a:ext>
            </a:extLst>
          </p:cNvPr>
          <p:cNvSpPr>
            <a:spLocks noGrp="1"/>
          </p:cNvSpPr>
          <p:nvPr>
            <p:ph type="body" sz="quarter" idx="10"/>
          </p:nvPr>
        </p:nvSpPr>
        <p:spPr/>
        <p:txBody>
          <a:bodyPr lIns="0" tIns="0" rIns="0" bIns="0" anchor="t"/>
          <a:lstStyle/>
          <a:p>
            <a:r>
              <a:rPr lang="en-GB" dirty="0">
                <a:solidFill>
                  <a:schemeClr val="accent4"/>
                </a:solidFill>
                <a:latin typeface="Ubuntu"/>
              </a:rPr>
              <a:t>Version control system</a:t>
            </a:r>
            <a:endParaRPr lang="en-GB" dirty="0">
              <a:solidFill>
                <a:schemeClr val="accent4"/>
              </a:solidFill>
            </a:endParaRPr>
          </a:p>
          <a:p>
            <a:endParaRPr lang="en-GB" dirty="0">
              <a:solidFill>
                <a:schemeClr val="accent3"/>
              </a:solidFill>
            </a:endParaRPr>
          </a:p>
        </p:txBody>
      </p:sp>
    </p:spTree>
    <p:extLst>
      <p:ext uri="{BB962C8B-B14F-4D97-AF65-F5344CB8AC3E}">
        <p14:creationId xmlns:p14="http://schemas.microsoft.com/office/powerpoint/2010/main" val="25912999"/>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46B6C41-962A-417A-A4AB-9FDB79D2701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8BB89BED-2FA4-4A72-B91D-CED542B6BB0C}"/>
              </a:ext>
            </a:extLst>
          </p:cNvPr>
          <p:cNvSpPr>
            <a:spLocks noGrp="1"/>
          </p:cNvSpPr>
          <p:nvPr>
            <p:ph type="title"/>
          </p:nvPr>
        </p:nvSpPr>
        <p:spPr/>
        <p:txBody>
          <a:bodyPr/>
          <a:lstStyle/>
          <a:p>
            <a:r>
              <a:rPr lang="en-GB" dirty="0"/>
              <a:t>Let's have a quick review on what we learnt so far</a:t>
            </a:r>
          </a:p>
        </p:txBody>
      </p:sp>
      <p:sp>
        <p:nvSpPr>
          <p:cNvPr id="5" name="Content Placeholder 4">
            <a:extLst>
              <a:ext uri="{FF2B5EF4-FFF2-40B4-BE49-F238E27FC236}">
                <a16:creationId xmlns:a16="http://schemas.microsoft.com/office/drawing/2014/main" id="{F3C66C73-6C2C-4EB1-9316-DFAB45100393}"/>
              </a:ext>
            </a:extLst>
          </p:cNvPr>
          <p:cNvSpPr>
            <a:spLocks noGrp="1"/>
          </p:cNvSpPr>
          <p:nvPr>
            <p:ph sz="half" idx="11"/>
          </p:nvPr>
        </p:nvSpPr>
        <p:spPr>
          <a:xfrm>
            <a:off x="404813" y="2924944"/>
            <a:ext cx="5784850" cy="2304255"/>
          </a:xfrm>
        </p:spPr>
        <p:txBody>
          <a:bodyPr vert="horz" lIns="0" tIns="0" rIns="0" bIns="0" rtlCol="0" anchor="t">
            <a:normAutofit fontScale="85000" lnSpcReduction="20000"/>
          </a:bodyPr>
          <a:lstStyle/>
          <a:p>
            <a:r>
              <a:rPr lang="en-GB" dirty="0">
                <a:latin typeface="Ubuntu"/>
              </a:rPr>
              <a:t>Basic commands in git - </a:t>
            </a:r>
          </a:p>
          <a:p>
            <a:r>
              <a:rPr lang="en-GB" dirty="0">
                <a:latin typeface="Ubuntu"/>
              </a:rPr>
              <a:t>Init </a:t>
            </a:r>
          </a:p>
          <a:p>
            <a:r>
              <a:rPr lang="en-GB" dirty="0">
                <a:latin typeface="Ubuntu"/>
              </a:rPr>
              <a:t>Add</a:t>
            </a:r>
          </a:p>
          <a:p>
            <a:r>
              <a:rPr lang="en-GB" dirty="0">
                <a:latin typeface="Ubuntu"/>
              </a:rPr>
              <a:t>Status</a:t>
            </a:r>
          </a:p>
          <a:p>
            <a:r>
              <a:rPr lang="en-GB" dirty="0">
                <a:latin typeface="Ubuntu"/>
              </a:rPr>
              <a:t>Commit</a:t>
            </a:r>
          </a:p>
          <a:p>
            <a:r>
              <a:rPr lang="en-GB" dirty="0">
                <a:latin typeface="Ubuntu"/>
              </a:rPr>
              <a:t>Push</a:t>
            </a:r>
          </a:p>
          <a:p>
            <a:r>
              <a:rPr lang="en-GB" dirty="0">
                <a:latin typeface="Ubuntu"/>
              </a:rPr>
              <a:t>Pull</a:t>
            </a:r>
          </a:p>
          <a:p>
            <a:r>
              <a:rPr lang="en-GB" dirty="0">
                <a:latin typeface="Ubuntu"/>
              </a:rPr>
              <a:t>Clone and so on</a:t>
            </a:r>
          </a:p>
        </p:txBody>
      </p:sp>
      <p:sp>
        <p:nvSpPr>
          <p:cNvPr id="16" name="Graphic 1">
            <a:extLst>
              <a:ext uri="{FF2B5EF4-FFF2-40B4-BE49-F238E27FC236}">
                <a16:creationId xmlns:a16="http://schemas.microsoft.com/office/drawing/2014/main" id="{21B2CF7E-E8F6-4A2F-9828-4F9A39B0864F}"/>
              </a:ext>
            </a:extLst>
          </p:cNvPr>
          <p:cNvSpPr/>
          <p:nvPr/>
        </p:nvSpPr>
        <p:spPr>
          <a:xfrm rot="20535171">
            <a:off x="2295796" y="83734"/>
            <a:ext cx="14823531" cy="6713585"/>
          </a:xfrm>
          <a:custGeom>
            <a:avLst/>
            <a:gdLst>
              <a:gd name="connsiteX0" fmla="*/ 7215188 w 7239000"/>
              <a:gd name="connsiteY0" fmla="*/ 3278548 h 3278547"/>
              <a:gd name="connsiteX1" fmla="*/ 6557010 w 7239000"/>
              <a:gd name="connsiteY1" fmla="*/ 2329858 h 3278547"/>
              <a:gd name="connsiteX2" fmla="*/ 4255770 w 7239000"/>
              <a:gd name="connsiteY2" fmla="*/ 41000 h 3278547"/>
              <a:gd name="connsiteX3" fmla="*/ 4255770 w 7239000"/>
              <a:gd name="connsiteY3" fmla="*/ 41000 h 3278547"/>
              <a:gd name="connsiteX4" fmla="*/ 4247198 w 7239000"/>
              <a:gd name="connsiteY4" fmla="*/ 40048 h 3278547"/>
              <a:gd name="connsiteX5" fmla="*/ 4245293 w 7239000"/>
              <a:gd name="connsiteY5" fmla="*/ 40048 h 3278547"/>
              <a:gd name="connsiteX6" fmla="*/ 2178368 w 7239000"/>
              <a:gd name="connsiteY6" fmla="*/ 949685 h 3278547"/>
              <a:gd name="connsiteX7" fmla="*/ 2162175 w 7239000"/>
              <a:gd name="connsiteY7" fmla="*/ 963973 h 3278547"/>
              <a:gd name="connsiteX8" fmla="*/ 2172653 w 7239000"/>
              <a:gd name="connsiteY8" fmla="*/ 985880 h 3278547"/>
              <a:gd name="connsiteX9" fmla="*/ 2628900 w 7239000"/>
              <a:gd name="connsiteY9" fmla="*/ 2749910 h 3278547"/>
              <a:gd name="connsiteX10" fmla="*/ 1949768 w 7239000"/>
              <a:gd name="connsiteY10" fmla="*/ 2512738 h 3278547"/>
              <a:gd name="connsiteX11" fmla="*/ 1019175 w 7239000"/>
              <a:gd name="connsiteY11" fmla="*/ 2072683 h 3278547"/>
              <a:gd name="connsiteX12" fmla="*/ 36195 w 7239000"/>
              <a:gd name="connsiteY12" fmla="*/ 3269023 h 3278547"/>
              <a:gd name="connsiteX13" fmla="*/ 0 w 7239000"/>
              <a:gd name="connsiteY13" fmla="*/ 3257593 h 3278547"/>
              <a:gd name="connsiteX14" fmla="*/ 270510 w 7239000"/>
              <a:gd name="connsiteY14" fmla="*/ 2655613 h 3278547"/>
              <a:gd name="connsiteX15" fmla="*/ 1018223 w 7239000"/>
              <a:gd name="connsiteY15" fmla="*/ 2034583 h 3278547"/>
              <a:gd name="connsiteX16" fmla="*/ 1971675 w 7239000"/>
              <a:gd name="connsiteY16" fmla="*/ 2481305 h 3278547"/>
              <a:gd name="connsiteX17" fmla="*/ 2599373 w 7239000"/>
              <a:gd name="connsiteY17" fmla="*/ 2725146 h 3278547"/>
              <a:gd name="connsiteX18" fmla="*/ 2138363 w 7239000"/>
              <a:gd name="connsiteY18" fmla="*/ 1002073 h 3278547"/>
              <a:gd name="connsiteX19" fmla="*/ 2122170 w 7239000"/>
              <a:gd name="connsiteY19" fmla="*/ 967783 h 3278547"/>
              <a:gd name="connsiteX20" fmla="*/ 2116455 w 7239000"/>
              <a:gd name="connsiteY20" fmla="*/ 955400 h 3278547"/>
              <a:gd name="connsiteX21" fmla="*/ 2126933 w 7239000"/>
              <a:gd name="connsiteY21" fmla="*/ 945875 h 3278547"/>
              <a:gd name="connsiteX22" fmla="*/ 2152650 w 7239000"/>
              <a:gd name="connsiteY22" fmla="*/ 922063 h 3278547"/>
              <a:gd name="connsiteX23" fmla="*/ 2890838 w 7239000"/>
              <a:gd name="connsiteY23" fmla="*/ 369613 h 3278547"/>
              <a:gd name="connsiteX24" fmla="*/ 4248150 w 7239000"/>
              <a:gd name="connsiteY24" fmla="*/ 2900 h 3278547"/>
              <a:gd name="connsiteX25" fmla="*/ 4252913 w 7239000"/>
              <a:gd name="connsiteY25" fmla="*/ 2900 h 3278547"/>
              <a:gd name="connsiteX26" fmla="*/ 4252913 w 7239000"/>
              <a:gd name="connsiteY26" fmla="*/ 2900 h 3278547"/>
              <a:gd name="connsiteX27" fmla="*/ 6590348 w 7239000"/>
              <a:gd name="connsiteY27" fmla="*/ 2310808 h 3278547"/>
              <a:gd name="connsiteX28" fmla="*/ 7239000 w 7239000"/>
              <a:gd name="connsiteY28" fmla="*/ 3249021 h 3278547"/>
              <a:gd name="connsiteX29" fmla="*/ 7215188 w 7239000"/>
              <a:gd name="connsiteY29" fmla="*/ 3278548 h 32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39000" h="3278547">
                <a:moveTo>
                  <a:pt x="7215188" y="3278548"/>
                </a:moveTo>
                <a:cubicBezTo>
                  <a:pt x="7036118" y="3138530"/>
                  <a:pt x="6814185" y="2764198"/>
                  <a:pt x="6557010" y="2329858"/>
                </a:cubicBezTo>
                <a:cubicBezTo>
                  <a:pt x="5998845" y="1386883"/>
                  <a:pt x="5233988" y="96245"/>
                  <a:pt x="4255770" y="41000"/>
                </a:cubicBezTo>
                <a:lnTo>
                  <a:pt x="4255770" y="41000"/>
                </a:lnTo>
                <a:lnTo>
                  <a:pt x="4247198" y="40048"/>
                </a:lnTo>
                <a:cubicBezTo>
                  <a:pt x="4246245" y="40048"/>
                  <a:pt x="4245293" y="40048"/>
                  <a:pt x="4245293" y="40048"/>
                </a:cubicBezTo>
                <a:cubicBezTo>
                  <a:pt x="3781425" y="14330"/>
                  <a:pt x="3046095" y="151490"/>
                  <a:pt x="2178368" y="949685"/>
                </a:cubicBezTo>
                <a:cubicBezTo>
                  <a:pt x="2172653" y="955400"/>
                  <a:pt x="2166938" y="960163"/>
                  <a:pt x="2162175" y="963973"/>
                </a:cubicBezTo>
                <a:cubicBezTo>
                  <a:pt x="2165033" y="970640"/>
                  <a:pt x="2168843" y="977308"/>
                  <a:pt x="2172653" y="985880"/>
                </a:cubicBezTo>
                <a:cubicBezTo>
                  <a:pt x="2486025" y="1663108"/>
                  <a:pt x="2820353" y="2519405"/>
                  <a:pt x="2628900" y="2749910"/>
                </a:cubicBezTo>
                <a:cubicBezTo>
                  <a:pt x="2499360" y="2905168"/>
                  <a:pt x="2245043" y="2723240"/>
                  <a:pt x="1949768" y="2512738"/>
                </a:cubicBezTo>
                <a:cubicBezTo>
                  <a:pt x="1655445" y="2302235"/>
                  <a:pt x="1322070" y="2064110"/>
                  <a:pt x="1019175" y="2072683"/>
                </a:cubicBezTo>
                <a:cubicBezTo>
                  <a:pt x="422910" y="2089828"/>
                  <a:pt x="40005" y="3257593"/>
                  <a:pt x="36195" y="3269023"/>
                </a:cubicBezTo>
                <a:lnTo>
                  <a:pt x="0" y="3257593"/>
                </a:lnTo>
                <a:cubicBezTo>
                  <a:pt x="953" y="3254735"/>
                  <a:pt x="98108" y="2953746"/>
                  <a:pt x="270510" y="2655613"/>
                </a:cubicBezTo>
                <a:cubicBezTo>
                  <a:pt x="503873" y="2250800"/>
                  <a:pt x="755333" y="2042203"/>
                  <a:pt x="1018223" y="2034583"/>
                </a:cubicBezTo>
                <a:cubicBezTo>
                  <a:pt x="1334453" y="2026010"/>
                  <a:pt x="1672590" y="2267945"/>
                  <a:pt x="1971675" y="2481305"/>
                </a:cubicBezTo>
                <a:cubicBezTo>
                  <a:pt x="2250758" y="2681330"/>
                  <a:pt x="2492693" y="2853733"/>
                  <a:pt x="2599373" y="2725146"/>
                </a:cubicBezTo>
                <a:cubicBezTo>
                  <a:pt x="2739390" y="2557505"/>
                  <a:pt x="2575560" y="1945048"/>
                  <a:pt x="2138363" y="1002073"/>
                </a:cubicBezTo>
                <a:cubicBezTo>
                  <a:pt x="2131695" y="986833"/>
                  <a:pt x="2125980" y="975403"/>
                  <a:pt x="2122170" y="967783"/>
                </a:cubicBezTo>
                <a:lnTo>
                  <a:pt x="2116455" y="955400"/>
                </a:lnTo>
                <a:lnTo>
                  <a:pt x="2126933" y="945875"/>
                </a:lnTo>
                <a:cubicBezTo>
                  <a:pt x="2133600" y="939208"/>
                  <a:pt x="2143125" y="931588"/>
                  <a:pt x="2152650" y="922063"/>
                </a:cubicBezTo>
                <a:cubicBezTo>
                  <a:pt x="2253615" y="828718"/>
                  <a:pt x="2522220" y="582020"/>
                  <a:pt x="2890838" y="369613"/>
                </a:cubicBezTo>
                <a:cubicBezTo>
                  <a:pt x="3353753" y="101960"/>
                  <a:pt x="3810000" y="-20912"/>
                  <a:pt x="4248150" y="2900"/>
                </a:cubicBezTo>
                <a:lnTo>
                  <a:pt x="4252913" y="2900"/>
                </a:lnTo>
                <a:lnTo>
                  <a:pt x="4252913" y="2900"/>
                </a:lnTo>
                <a:cubicBezTo>
                  <a:pt x="5253990" y="55288"/>
                  <a:pt x="6026468" y="1359260"/>
                  <a:pt x="6590348" y="2310808"/>
                </a:cubicBezTo>
                <a:cubicBezTo>
                  <a:pt x="6845618" y="2741338"/>
                  <a:pt x="7065645" y="3113765"/>
                  <a:pt x="7239000" y="3249021"/>
                </a:cubicBezTo>
                <a:lnTo>
                  <a:pt x="7215188" y="3278548"/>
                </a:lnTo>
                <a:close/>
              </a:path>
            </a:pathLst>
          </a:custGeom>
          <a:gradFill>
            <a:gsLst>
              <a:gs pos="63000">
                <a:schemeClr val="accent2">
                  <a:alpha val="0"/>
                </a:schemeClr>
              </a:gs>
              <a:gs pos="12000">
                <a:schemeClr val="accent2">
                  <a:alpha val="0"/>
                </a:schemeClr>
              </a:gs>
              <a:gs pos="39000">
                <a:srgbClr val="12ABDB"/>
              </a:gs>
            </a:gsLst>
            <a:lin ang="540000" scaled="0"/>
          </a:gra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2317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927D999C-7D56-4E36-90CD-528AC36195E8}"/>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8" r="8"/>
          <a:stretch/>
        </p:blipFill>
        <p:spPr/>
      </p:pic>
      <p:sp>
        <p:nvSpPr>
          <p:cNvPr id="16" name="Espace réservé du texte 15">
            <a:extLst>
              <a:ext uri="{FF2B5EF4-FFF2-40B4-BE49-F238E27FC236}">
                <a16:creationId xmlns:a16="http://schemas.microsoft.com/office/drawing/2014/main" id="{61F41917-DFCF-41A5-B77B-30BD2BE55868}"/>
              </a:ext>
            </a:extLst>
          </p:cNvPr>
          <p:cNvSpPr>
            <a:spLocks noGrp="1"/>
          </p:cNvSpPr>
          <p:nvPr>
            <p:ph type="body" sz="quarter" idx="12"/>
          </p:nvPr>
        </p:nvSpPr>
        <p:spPr/>
        <p:txBody>
          <a:bodyPr vert="horz" lIns="0" tIns="0" rIns="0" bIns="0" rtlCol="0" anchor="t">
            <a:normAutofit/>
          </a:bodyPr>
          <a:lstStyle/>
          <a:p>
            <a:r>
              <a:rPr lang="en-GB" dirty="0">
                <a:latin typeface="Ubuntu"/>
              </a:rPr>
              <a:t>It is an open source community wherein 65 million users collaborate with each other to perform various tasks related to projects. This community is widely known for the purpose of gaining information about software projects.</a:t>
            </a:r>
            <a:endParaRPr lang="en-GB" dirty="0"/>
          </a:p>
        </p:txBody>
      </p:sp>
      <p:sp>
        <p:nvSpPr>
          <p:cNvPr id="17" name="Freeform: Shape 16">
            <a:extLst>
              <a:ext uri="{FF2B5EF4-FFF2-40B4-BE49-F238E27FC236}">
                <a16:creationId xmlns:a16="http://schemas.microsoft.com/office/drawing/2014/main" id="{2F1C5B2A-E6BF-4D5C-8677-0BBA6AC8C4AE}"/>
              </a:ext>
            </a:extLst>
          </p:cNvPr>
          <p:cNvSpPr>
            <a:spLocks/>
          </p:cNvSpPr>
          <p:nvPr/>
        </p:nvSpPr>
        <p:spPr>
          <a:xfrm rot="816094">
            <a:off x="933641" y="-2097939"/>
            <a:ext cx="11315774" cy="7927231"/>
          </a:xfrm>
          <a:custGeom>
            <a:avLst/>
            <a:gdLst>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9773193 w 11315774"/>
              <a:gd name="connsiteY13" fmla="*/ 104236 h 7927231"/>
              <a:gd name="connsiteX14" fmla="*/ 11110394 w 11315774"/>
              <a:gd name="connsiteY14" fmla="*/ 12104 h 7927231"/>
              <a:gd name="connsiteX15" fmla="*/ 11100372 w 11315774"/>
              <a:gd name="connsiteY15" fmla="*/ 76731 h 7927231"/>
              <a:gd name="connsiteX16" fmla="*/ 9442404 w 11315774"/>
              <a:gd name="connsiteY16" fmla="*/ 333622 h 7927231"/>
              <a:gd name="connsiteX17" fmla="*/ 9229072 w 11315774"/>
              <a:gd name="connsiteY17" fmla="*/ 2107618 h 7927231"/>
              <a:gd name="connsiteX18" fmla="*/ 9300660 w 11315774"/>
              <a:gd name="connsiteY18" fmla="*/ 3501935 h 7927231"/>
              <a:gd name="connsiteX19" fmla="*/ 8818160 w 11315774"/>
              <a:gd name="connsiteY19" fmla="*/ 4398626 h 7927231"/>
              <a:gd name="connsiteX20" fmla="*/ 8640060 w 11315774"/>
              <a:gd name="connsiteY20" fmla="*/ 4536131 h 7927231"/>
              <a:gd name="connsiteX21" fmla="*/ 8630442 w 11315774"/>
              <a:gd name="connsiteY21" fmla="*/ 4541520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40060 w 11315774"/>
              <a:gd name="connsiteY21" fmla="*/ 4536131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80276 w 11315774"/>
              <a:gd name="connsiteY21" fmla="*/ 4513333 h 7927231"/>
              <a:gd name="connsiteX22" fmla="*/ 8710876 w 11315774"/>
              <a:gd name="connsiteY22" fmla="*/ 4495926 h 7927231"/>
              <a:gd name="connsiteX23" fmla="*/ 8614274 w 11315774"/>
              <a:gd name="connsiteY23" fmla="*/ 4474698 h 7927231"/>
              <a:gd name="connsiteX24" fmla="*/ 8780934 w 11315774"/>
              <a:gd name="connsiteY24" fmla="*/ 4346925 h 7927231"/>
              <a:gd name="connsiteX25" fmla="*/ 9173234 w 11315774"/>
              <a:gd name="connsiteY25" fmla="*/ 2123775 h 7927231"/>
              <a:gd name="connsiteX26" fmla="*/ 9403746 w 11315774"/>
              <a:gd name="connsiteY26" fmla="*/ 285152 h 7927231"/>
              <a:gd name="connsiteX27" fmla="*/ 9773193 w 11315774"/>
              <a:gd name="connsiteY27"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10876 w 11315774"/>
              <a:gd name="connsiteY21" fmla="*/ 4495926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700498 w 11315774"/>
              <a:gd name="connsiteY21" fmla="*/ 4493537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8160 w 11315774"/>
              <a:gd name="connsiteY20" fmla="*/ 4398626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55984 w 11315774"/>
              <a:gd name="connsiteY3" fmla="*/ 408143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75179 w 11315774"/>
              <a:gd name="connsiteY4" fmla="*/ 4160773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 name="connsiteX0" fmla="*/ 3940181 w 11315774"/>
              <a:gd name="connsiteY0" fmla="*/ 3648959 h 7927231"/>
              <a:gd name="connsiteX1" fmla="*/ 3951635 w 11315774"/>
              <a:gd name="connsiteY1" fmla="*/ 3655422 h 7927231"/>
              <a:gd name="connsiteX2" fmla="*/ 4692544 w 11315774"/>
              <a:gd name="connsiteY2" fmla="*/ 4052244 h 7927231"/>
              <a:gd name="connsiteX3" fmla="*/ 4776814 w 11315774"/>
              <a:gd name="connsiteY3" fmla="*/ 4076398 h 7927231"/>
              <a:gd name="connsiteX4" fmla="*/ 4781003 w 11315774"/>
              <a:gd name="connsiteY4" fmla="*/ 4154465 h 7927231"/>
              <a:gd name="connsiteX5" fmla="*/ 4680979 w 11315774"/>
              <a:gd name="connsiteY5" fmla="*/ 4117577 h 7927231"/>
              <a:gd name="connsiteX6" fmla="*/ 3938750 w 11315774"/>
              <a:gd name="connsiteY6" fmla="*/ 3721665 h 7927231"/>
              <a:gd name="connsiteX7" fmla="*/ 854757 w 11315774"/>
              <a:gd name="connsiteY7" fmla="*/ 6321263 h 7927231"/>
              <a:gd name="connsiteX8" fmla="*/ 54407 w 11315774"/>
              <a:gd name="connsiteY8" fmla="*/ 7927231 h 7927231"/>
              <a:gd name="connsiteX9" fmla="*/ 0 w 11315774"/>
              <a:gd name="connsiteY9" fmla="*/ 7906228 h 7927231"/>
              <a:gd name="connsiteX10" fmla="*/ 808941 w 11315774"/>
              <a:gd name="connsiteY10" fmla="*/ 6280873 h 7927231"/>
              <a:gd name="connsiteX11" fmla="*/ 2014476 w 11315774"/>
              <a:gd name="connsiteY11" fmla="*/ 4883324 h 7927231"/>
              <a:gd name="connsiteX12" fmla="*/ 3928727 w 11315774"/>
              <a:gd name="connsiteY12" fmla="*/ 3653807 h 7927231"/>
              <a:gd name="connsiteX13" fmla="*/ 3940181 w 11315774"/>
              <a:gd name="connsiteY13" fmla="*/ 3648959 h 7927231"/>
              <a:gd name="connsiteX14" fmla="*/ 9773193 w 11315774"/>
              <a:gd name="connsiteY14" fmla="*/ 104236 h 7927231"/>
              <a:gd name="connsiteX15" fmla="*/ 11110394 w 11315774"/>
              <a:gd name="connsiteY15" fmla="*/ 12104 h 7927231"/>
              <a:gd name="connsiteX16" fmla="*/ 11100372 w 11315774"/>
              <a:gd name="connsiteY16" fmla="*/ 76731 h 7927231"/>
              <a:gd name="connsiteX17" fmla="*/ 9442404 w 11315774"/>
              <a:gd name="connsiteY17" fmla="*/ 333622 h 7927231"/>
              <a:gd name="connsiteX18" fmla="*/ 9229072 w 11315774"/>
              <a:gd name="connsiteY18" fmla="*/ 2107618 h 7927231"/>
              <a:gd name="connsiteX19" fmla="*/ 9300660 w 11315774"/>
              <a:gd name="connsiteY19" fmla="*/ 3501935 h 7927231"/>
              <a:gd name="connsiteX20" fmla="*/ 8817040 w 11315774"/>
              <a:gd name="connsiteY20" fmla="*/ 4393998 h 7927231"/>
              <a:gd name="connsiteX21" fmla="*/ 8698818 w 11315774"/>
              <a:gd name="connsiteY21" fmla="*/ 4486594 h 7927231"/>
              <a:gd name="connsiteX22" fmla="*/ 8614274 w 11315774"/>
              <a:gd name="connsiteY22" fmla="*/ 4474698 h 7927231"/>
              <a:gd name="connsiteX23" fmla="*/ 8780934 w 11315774"/>
              <a:gd name="connsiteY23" fmla="*/ 4346925 h 7927231"/>
              <a:gd name="connsiteX24" fmla="*/ 9173234 w 11315774"/>
              <a:gd name="connsiteY24" fmla="*/ 2123775 h 7927231"/>
              <a:gd name="connsiteX25" fmla="*/ 9403746 w 11315774"/>
              <a:gd name="connsiteY25" fmla="*/ 285152 h 7927231"/>
              <a:gd name="connsiteX26" fmla="*/ 9773193 w 11315774"/>
              <a:gd name="connsiteY26" fmla="*/ 104236 h 79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315774" h="7927231">
                <a:moveTo>
                  <a:pt x="3940181" y="3648959"/>
                </a:moveTo>
                <a:lnTo>
                  <a:pt x="3951635" y="3655422"/>
                </a:lnTo>
                <a:cubicBezTo>
                  <a:pt x="4200044" y="3800832"/>
                  <a:pt x="4447558" y="3933316"/>
                  <a:pt x="4692544" y="4052244"/>
                </a:cubicBezTo>
                <a:lnTo>
                  <a:pt x="4776814" y="4076398"/>
                </a:lnTo>
                <a:lnTo>
                  <a:pt x="4781003" y="4154465"/>
                </a:lnTo>
                <a:lnTo>
                  <a:pt x="4680979" y="4117577"/>
                </a:lnTo>
                <a:cubicBezTo>
                  <a:pt x="4435478" y="3998852"/>
                  <a:pt x="4187516" y="3866671"/>
                  <a:pt x="3938750" y="3721665"/>
                </a:cubicBezTo>
                <a:cubicBezTo>
                  <a:pt x="2366687" y="4408320"/>
                  <a:pt x="1394526" y="5515049"/>
                  <a:pt x="854757" y="6321263"/>
                </a:cubicBezTo>
                <a:cubicBezTo>
                  <a:pt x="270602" y="7196952"/>
                  <a:pt x="55839" y="7919153"/>
                  <a:pt x="54407" y="7927231"/>
                </a:cubicBezTo>
                <a:lnTo>
                  <a:pt x="0" y="7906228"/>
                </a:lnTo>
                <a:cubicBezTo>
                  <a:pt x="1433" y="7898149"/>
                  <a:pt x="219059" y="7166255"/>
                  <a:pt x="808941" y="6280873"/>
                </a:cubicBezTo>
                <a:cubicBezTo>
                  <a:pt x="1155425" y="5760629"/>
                  <a:pt x="1560610" y="5290471"/>
                  <a:pt x="2014476" y="4883324"/>
                </a:cubicBezTo>
                <a:cubicBezTo>
                  <a:pt x="2581450" y="4372775"/>
                  <a:pt x="3225738" y="3959166"/>
                  <a:pt x="3928727" y="3653807"/>
                </a:cubicBezTo>
                <a:lnTo>
                  <a:pt x="3940181" y="3648959"/>
                </a:lnTo>
                <a:close/>
                <a:moveTo>
                  <a:pt x="9773193" y="104236"/>
                </a:moveTo>
                <a:cubicBezTo>
                  <a:pt x="10234430" y="-12130"/>
                  <a:pt x="10898316" y="38157"/>
                  <a:pt x="11110394" y="12104"/>
                </a:cubicBezTo>
                <a:cubicBezTo>
                  <a:pt x="11393165" y="-22633"/>
                  <a:pt x="11378371" y="23145"/>
                  <a:pt x="11100372" y="76731"/>
                </a:cubicBezTo>
                <a:cubicBezTo>
                  <a:pt x="10822374" y="130316"/>
                  <a:pt x="9846158" y="-70293"/>
                  <a:pt x="9442404" y="333622"/>
                </a:cubicBezTo>
                <a:cubicBezTo>
                  <a:pt x="9107374" y="669680"/>
                  <a:pt x="9035786" y="1267474"/>
                  <a:pt x="9229072" y="2107618"/>
                </a:cubicBezTo>
                <a:cubicBezTo>
                  <a:pt x="9352203" y="2642401"/>
                  <a:pt x="9376543" y="3110943"/>
                  <a:pt x="9300660" y="3501935"/>
                </a:cubicBezTo>
                <a:cubicBezTo>
                  <a:pt x="9227641" y="3873537"/>
                  <a:pt x="9031125" y="4208542"/>
                  <a:pt x="8817040" y="4393998"/>
                </a:cubicBezTo>
                <a:cubicBezTo>
                  <a:pt x="8775303" y="4430153"/>
                  <a:pt x="8719063" y="4457638"/>
                  <a:pt x="8698818" y="4486594"/>
                </a:cubicBezTo>
                <a:lnTo>
                  <a:pt x="8614274" y="4474698"/>
                </a:lnTo>
                <a:lnTo>
                  <a:pt x="8780934" y="4346925"/>
                </a:lnTo>
                <a:cubicBezTo>
                  <a:pt x="9272025" y="3905850"/>
                  <a:pt x="9406609" y="3136794"/>
                  <a:pt x="9173234" y="2123775"/>
                </a:cubicBezTo>
                <a:cubicBezTo>
                  <a:pt x="8972789" y="1257780"/>
                  <a:pt x="9050104" y="638981"/>
                  <a:pt x="9403746" y="285152"/>
                </a:cubicBezTo>
                <a:cubicBezTo>
                  <a:pt x="9488219" y="200330"/>
                  <a:pt x="9619448" y="143024"/>
                  <a:pt x="9773193" y="104236"/>
                </a:cubicBezTo>
                <a:close/>
              </a:path>
            </a:pathLst>
          </a:custGeom>
          <a:gradFill>
            <a:gsLst>
              <a:gs pos="81000">
                <a:schemeClr val="accent2">
                  <a:alpha val="0"/>
                </a:schemeClr>
              </a:gs>
              <a:gs pos="32000">
                <a:srgbClr val="12ABDB">
                  <a:alpha val="17000"/>
                </a:srgbClr>
              </a:gs>
              <a:gs pos="17000">
                <a:schemeClr val="accent2">
                  <a:alpha val="0"/>
                </a:schemeClr>
              </a:gs>
              <a:gs pos="49000">
                <a:srgbClr val="12ABDB"/>
              </a:gs>
            </a:gsLst>
            <a:lin ang="16200000" scaled="0"/>
          </a:gradFill>
          <a:ln w="9525" cap="flat">
            <a:noFill/>
            <a:prstDash val="solid"/>
            <a:miter/>
          </a:ln>
        </p:spPr>
        <p:txBody>
          <a:bodyPr wrap="square" rtlCol="0" anchor="ctr">
            <a:noAutofit/>
          </a:bodyPr>
          <a:lstStyle/>
          <a:p>
            <a:endParaRPr lang="de-DE"/>
          </a:p>
        </p:txBody>
      </p:sp>
      <p:sp>
        <p:nvSpPr>
          <p:cNvPr id="3" name="Title 2">
            <a:extLst>
              <a:ext uri="{FF2B5EF4-FFF2-40B4-BE49-F238E27FC236}">
                <a16:creationId xmlns:a16="http://schemas.microsoft.com/office/drawing/2014/main" id="{9E5AB000-4F1F-472A-A181-8CE95B5D7781}"/>
              </a:ext>
            </a:extLst>
          </p:cNvPr>
          <p:cNvSpPr>
            <a:spLocks noGrp="1"/>
          </p:cNvSpPr>
          <p:nvPr>
            <p:ph type="title"/>
          </p:nvPr>
        </p:nvSpPr>
        <p:spPr/>
        <p:txBody>
          <a:bodyPr/>
          <a:lstStyle/>
          <a:p>
            <a:r>
              <a:rPr lang="en-US" dirty="0"/>
              <a:t>What is git hub? </a:t>
            </a:r>
          </a:p>
        </p:txBody>
      </p:sp>
    </p:spTree>
    <p:extLst>
      <p:ext uri="{BB962C8B-B14F-4D97-AF65-F5344CB8AC3E}">
        <p14:creationId xmlns:p14="http://schemas.microsoft.com/office/powerpoint/2010/main" val="285599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2C0F85-30AF-4A7B-938C-24C2F464A399}"/>
              </a:ext>
            </a:extLst>
          </p:cNvPr>
          <p:cNvSpPr>
            <a:spLocks noGrp="1"/>
          </p:cNvSpPr>
          <p:nvPr>
            <p:ph type="body" sz="quarter" idx="10"/>
          </p:nvPr>
        </p:nvSpPr>
        <p:spPr/>
        <p:txBody>
          <a:bodyPr vert="horz" lIns="0" tIns="0" rIns="0" bIns="0" rtlCol="0" anchor="t">
            <a:normAutofit/>
          </a:bodyPr>
          <a:lstStyle/>
          <a:p>
            <a:pPr lvl="1">
              <a:buClr>
                <a:srgbClr val="0070AD"/>
              </a:buClr>
            </a:pPr>
            <a:r>
              <a:rPr lang="en-GB" dirty="0">
                <a:latin typeface="Ubuntu"/>
              </a:rPr>
              <a:t>It is a distributed VCS</a:t>
            </a:r>
          </a:p>
          <a:p>
            <a:pPr lvl="1"/>
            <a:r>
              <a:rPr lang="en-GB" dirty="0">
                <a:latin typeface="Ubuntu"/>
              </a:rPr>
              <a:t>It has branches</a:t>
            </a:r>
            <a:endParaRPr lang="en-GB" dirty="0"/>
          </a:p>
          <a:p>
            <a:pPr lvl="1">
              <a:buClr>
                <a:srgbClr val="0070AD"/>
              </a:buClr>
            </a:pPr>
            <a:r>
              <a:rPr lang="en-GB" dirty="0">
                <a:latin typeface="Ubuntu"/>
              </a:rPr>
              <a:t>Servers like </a:t>
            </a:r>
            <a:r>
              <a:rPr lang="en-GB" dirty="0" err="1">
                <a:latin typeface="Ubuntu"/>
              </a:rPr>
              <a:t>gitlab</a:t>
            </a:r>
            <a:r>
              <a:rPr lang="en-GB" dirty="0">
                <a:latin typeface="Ubuntu"/>
              </a:rPr>
              <a:t>, </a:t>
            </a:r>
            <a:r>
              <a:rPr lang="en-GB" dirty="0" err="1">
                <a:latin typeface="Ubuntu"/>
              </a:rPr>
              <a:t>github</a:t>
            </a:r>
            <a:r>
              <a:rPr lang="en-GB" dirty="0">
                <a:latin typeface="Ubuntu"/>
              </a:rPr>
              <a:t>, bitbucket are available.</a:t>
            </a:r>
            <a:endParaRPr lang="en-GB" dirty="0"/>
          </a:p>
          <a:p>
            <a:pPr lvl="1">
              <a:buClr>
                <a:srgbClr val="0070AD"/>
              </a:buClr>
            </a:pPr>
            <a:endParaRPr lang="en-GB" dirty="0"/>
          </a:p>
          <a:p>
            <a:endParaRPr lang="en-GB" dirty="0"/>
          </a:p>
          <a:p>
            <a:endParaRPr lang="en-GB" dirty="0"/>
          </a:p>
        </p:txBody>
      </p:sp>
      <p:sp>
        <p:nvSpPr>
          <p:cNvPr id="3" name="Title 2">
            <a:extLst>
              <a:ext uri="{FF2B5EF4-FFF2-40B4-BE49-F238E27FC236}">
                <a16:creationId xmlns:a16="http://schemas.microsoft.com/office/drawing/2014/main" id="{B490EBA8-8698-49C6-91C6-93EB77884919}"/>
              </a:ext>
            </a:extLst>
          </p:cNvPr>
          <p:cNvSpPr>
            <a:spLocks noGrp="1"/>
          </p:cNvSpPr>
          <p:nvPr>
            <p:ph type="title"/>
          </p:nvPr>
        </p:nvSpPr>
        <p:spPr/>
        <p:txBody>
          <a:bodyPr/>
          <a:lstStyle/>
          <a:p>
            <a:r>
              <a:rPr lang="en-GB"/>
              <a:t>ADVANTAGES OF GIT</a:t>
            </a:r>
          </a:p>
        </p:txBody>
      </p:sp>
    </p:spTree>
    <p:extLst>
      <p:ext uri="{BB962C8B-B14F-4D97-AF65-F5344CB8AC3E}">
        <p14:creationId xmlns:p14="http://schemas.microsoft.com/office/powerpoint/2010/main" val="2663886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9DE5022-8AB1-4A66-A518-29859891238E}"/>
              </a:ext>
            </a:extLst>
          </p:cNvPr>
          <p:cNvSpPr>
            <a:spLocks noGrp="1"/>
          </p:cNvSpPr>
          <p:nvPr>
            <p:ph type="body" sz="quarter" idx="10"/>
          </p:nvPr>
        </p:nvSpPr>
        <p:spPr/>
        <p:txBody>
          <a:bodyPr vert="horz" lIns="0" tIns="0" rIns="0" bIns="0" rtlCol="0" anchor="t">
            <a:normAutofit/>
          </a:bodyPr>
          <a:lstStyle/>
          <a:p>
            <a:r>
              <a:rPr lang="en-GB" dirty="0">
                <a:latin typeface="Ubuntu"/>
              </a:rPr>
              <a:t>We can do this by creating a directory for the project.</a:t>
            </a:r>
            <a:endParaRPr lang="en-GB" dirty="0"/>
          </a:p>
          <a:p>
            <a:r>
              <a:rPr lang="en-GB" dirty="0">
                <a:latin typeface="Ubuntu"/>
              </a:rPr>
              <a:t>And we run the command 'git </a:t>
            </a:r>
            <a:r>
              <a:rPr lang="en-GB" dirty="0" err="1">
                <a:latin typeface="Ubuntu"/>
              </a:rPr>
              <a:t>init</a:t>
            </a:r>
            <a:r>
              <a:rPr lang="en-GB" dirty="0">
                <a:latin typeface="Ubuntu"/>
              </a:rPr>
              <a:t>' for the same.</a:t>
            </a:r>
            <a:endParaRPr lang="en-GB" dirty="0"/>
          </a:p>
          <a:p>
            <a:endParaRPr lang="en-GB" dirty="0"/>
          </a:p>
        </p:txBody>
      </p:sp>
      <p:sp>
        <p:nvSpPr>
          <p:cNvPr id="2" name="Titre 1">
            <a:extLst>
              <a:ext uri="{FF2B5EF4-FFF2-40B4-BE49-F238E27FC236}">
                <a16:creationId xmlns:a16="http://schemas.microsoft.com/office/drawing/2014/main" id="{5F8C6948-1A1E-45FF-83AE-95F699C903D6}"/>
              </a:ext>
            </a:extLst>
          </p:cNvPr>
          <p:cNvSpPr>
            <a:spLocks noGrp="1"/>
          </p:cNvSpPr>
          <p:nvPr>
            <p:ph type="title"/>
          </p:nvPr>
        </p:nvSpPr>
        <p:spPr/>
        <p:txBody>
          <a:bodyPr/>
          <a:lstStyle/>
          <a:p>
            <a:r>
              <a:rPr lang="en-GB"/>
              <a:t>How to create a git repository?</a:t>
            </a:r>
          </a:p>
        </p:txBody>
      </p:sp>
    </p:spTree>
    <p:extLst>
      <p:ext uri="{BB962C8B-B14F-4D97-AF65-F5344CB8AC3E}">
        <p14:creationId xmlns:p14="http://schemas.microsoft.com/office/powerpoint/2010/main" val="998745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vert="horz" lIns="0" tIns="0" rIns="0" bIns="0" rtlCol="0" anchor="t">
            <a:normAutofit/>
          </a:bodyPr>
          <a:lstStyle/>
          <a:p>
            <a:pPr lvl="1">
              <a:buClr>
                <a:srgbClr val="0070AD"/>
              </a:buClr>
            </a:pPr>
            <a:r>
              <a:rPr lang="en-GB" dirty="0">
                <a:latin typeface="Ubuntu"/>
              </a:rPr>
              <a:t>We can configure by using 'git config –global user.name'</a:t>
            </a:r>
            <a:endParaRPr lang="en-GB" dirty="0"/>
          </a:p>
          <a:p>
            <a:endParaRPr lang="en-GB" dirty="0"/>
          </a:p>
        </p:txBody>
      </p:sp>
      <p:sp>
        <p:nvSpPr>
          <p:cNvPr id="6" name="Text Placeholder 5"/>
          <p:cNvSpPr>
            <a:spLocks noGrp="1"/>
          </p:cNvSpPr>
          <p:nvPr>
            <p:ph type="body" sz="quarter" idx="11"/>
          </p:nvPr>
        </p:nvSpPr>
        <p:spPr/>
        <p:txBody>
          <a:bodyPr/>
          <a:lstStyle/>
          <a:p>
            <a:r>
              <a:rPr lang="en-GB" dirty="0"/>
              <a:t>Subtitle Ubuntu regular</a:t>
            </a:r>
          </a:p>
        </p:txBody>
      </p:sp>
      <p:sp>
        <p:nvSpPr>
          <p:cNvPr id="4" name="Title 3"/>
          <p:cNvSpPr>
            <a:spLocks noGrp="1"/>
          </p:cNvSpPr>
          <p:nvPr>
            <p:ph type="title"/>
          </p:nvPr>
        </p:nvSpPr>
        <p:spPr/>
        <p:txBody>
          <a:bodyPr/>
          <a:lstStyle/>
          <a:p>
            <a:r>
              <a:rPr lang="en-GB"/>
              <a:t>How can we set a configurat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96AC31C0-0EA4-4715-86E2-052D63B2D071}"/>
              </a:ext>
            </a:extLst>
          </p:cNvPr>
          <p:cNvSpPr>
            <a:spLocks noGrp="1"/>
          </p:cNvSpPr>
          <p:nvPr>
            <p:ph type="title"/>
          </p:nvPr>
        </p:nvSpPr>
        <p:spPr>
          <a:xfrm>
            <a:off x="404813" y="388188"/>
            <a:ext cx="10947772" cy="716711"/>
          </a:xfrm>
        </p:spPr>
        <p:txBody>
          <a:bodyPr/>
          <a:lstStyle/>
          <a:p>
            <a:r>
              <a:rPr lang="en-GB" dirty="0"/>
              <a:t>How to do a git commit?</a:t>
            </a:r>
          </a:p>
        </p:txBody>
      </p:sp>
      <p:sp>
        <p:nvSpPr>
          <p:cNvPr id="9" name="Espace réservé du texte 8">
            <a:extLst>
              <a:ext uri="{FF2B5EF4-FFF2-40B4-BE49-F238E27FC236}">
                <a16:creationId xmlns:a16="http://schemas.microsoft.com/office/drawing/2014/main" id="{62331484-B8FF-4E3E-BF36-A07F2A79E765}"/>
              </a:ext>
            </a:extLst>
          </p:cNvPr>
          <p:cNvSpPr>
            <a:spLocks noGrp="1"/>
          </p:cNvSpPr>
          <p:nvPr>
            <p:ph type="body" sz="quarter" idx="10"/>
          </p:nvPr>
        </p:nvSpPr>
        <p:spPr/>
        <p:txBody>
          <a:bodyPr vert="horz" lIns="0" tIns="0" rIns="0" bIns="0" rtlCol="0" anchor="t">
            <a:normAutofit/>
          </a:bodyPr>
          <a:lstStyle/>
          <a:p>
            <a:r>
              <a:rPr lang="en-GB" dirty="0">
                <a:latin typeface="Ubuntu"/>
              </a:rPr>
              <a:t>We can do a commit by using git commit –a or a git commit -amend </a:t>
            </a:r>
            <a:endParaRPr lang="en-GB" dirty="0"/>
          </a:p>
          <a:p>
            <a:pPr lvl="1"/>
            <a:endParaRPr lang="en-GB" dirty="0"/>
          </a:p>
          <a:p>
            <a:endParaRPr lang="en-GB" dirty="0"/>
          </a:p>
        </p:txBody>
      </p:sp>
      <p:sp>
        <p:nvSpPr>
          <p:cNvPr id="2" name="TextBox 1">
            <a:extLst>
              <a:ext uri="{FF2B5EF4-FFF2-40B4-BE49-F238E27FC236}">
                <a16:creationId xmlns:a16="http://schemas.microsoft.com/office/drawing/2014/main" id="{E8C207A5-52FD-444A-8080-B6BD1656DA35}"/>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Tree>
    <p:extLst>
      <p:ext uri="{BB962C8B-B14F-4D97-AF65-F5344CB8AC3E}">
        <p14:creationId xmlns:p14="http://schemas.microsoft.com/office/powerpoint/2010/main" val="1831704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1" id="{18B0FA0E-52BA-4F3F-B2FD-88B4C8061DF8}" vid="{B5884A08-8118-4F4B-BE23-42A2365375DD}"/>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tity xmlns="f1122fed-4606-4ec8-90ef-13536176a38c">Capgemini Group</Entity>
    <Classification xmlns="f1122fed-4606-4ec8-90ef-13536176a38c">Company Confidential (Sec 1)</Classification>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DB8F1B61B4E349B1D07C13E9DB8DAC" ma:contentTypeVersion="9" ma:contentTypeDescription="Create a new document." ma:contentTypeScope="" ma:versionID="6e9e2595fa1084b1a028894ca2627931">
  <xsd:schema xmlns:xsd="http://www.w3.org/2001/XMLSchema" xmlns:xs="http://www.w3.org/2001/XMLSchema" xmlns:p="http://schemas.microsoft.com/office/2006/metadata/properties" xmlns:ns2="f1122fed-4606-4ec8-90ef-13536176a38c" xmlns:ns3="83fd27e2-85d6-4e10-9bbd-a3e555ecf21b" targetNamespace="http://schemas.microsoft.com/office/2006/metadata/properties" ma:root="true" ma:fieldsID="42542138c7c0860554875b300c3d4ef7" ns2:_="" ns3:_="">
    <xsd:import namespace="f1122fed-4606-4ec8-90ef-13536176a38c"/>
    <xsd:import namespace="83fd27e2-85d6-4e10-9bbd-a3e555ecf21b"/>
    <xsd:element name="properties">
      <xsd:complexType>
        <xsd:sequence>
          <xsd:element name="documentManagement">
            <xsd:complexType>
              <xsd:all>
                <xsd:element ref="ns2:Entity"/>
                <xsd:element ref="ns2:MediaServiceMetadata" minOccurs="0"/>
                <xsd:element ref="ns2:MediaServiceFastMetadata" minOccurs="0"/>
                <xsd:element ref="ns3:SharedWithUsers" minOccurs="0"/>
                <xsd:element ref="ns3:SharedWithDetails" minOccurs="0"/>
                <xsd:element ref="ns2:Classification"/>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122fed-4606-4ec8-90ef-13536176a38c" elementFormDefault="qualified">
    <xsd:import namespace="http://schemas.microsoft.com/office/2006/documentManagement/types"/>
    <xsd:import namespace="http://schemas.microsoft.com/office/infopath/2007/PartnerControls"/>
    <xsd:element name="Entity" ma:index="8" ma:displayName="Entity" ma:format="RadioButtons" ma:internalName="Entity">
      <xsd:simpleType>
        <xsd:restriction base="dms:Choice">
          <xsd:enumeration value="Capgemini Group"/>
          <xsd:enumeration value="Capgemini Invent"/>
          <xsd:enumeration value="Group IT"/>
          <xsd:enumeration value="Sogeti"/>
          <xsd:enumeration value="Capgemini Engineering"/>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Classification" ma:index="13" ma:displayName="Classification" ma:description="Data Classification" ma:format="RadioButtons" ma:internalName="Classification">
      <xsd:simpleType>
        <xsd:restriction base="dms:Choice">
          <xsd:enumeration value="Company Public (Sec 0)"/>
          <xsd:enumeration value="Company Confidential (Sec 1)"/>
          <xsd:enumeration value="Company Restricted (Sec 2)"/>
          <xsd:enumeration value="Company Sensitive (Sec 3)"/>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d27e2-85d6-4e10-9bbd-a3e555ecf21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bd661d4c-a817-4f27-b896-8d7a0239d9a2"/>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6e365201-3e16-4171-91fb-c71d19607f70"/>
    <ds:schemaRef ds:uri="http://www.w3.org/XML/1998/namespace"/>
    <ds:schemaRef ds:uri="http://purl.org/dc/dcmitype/"/>
    <ds:schemaRef ds:uri="f1122fed-4606-4ec8-90ef-13536176a38c"/>
  </ds:schemaRefs>
</ds:datastoreItem>
</file>

<file path=customXml/itemProps2.xml><?xml version="1.0" encoding="utf-8"?>
<ds:datastoreItem xmlns:ds="http://schemas.openxmlformats.org/officeDocument/2006/customXml" ds:itemID="{45A12B7A-91D0-4963-8273-A191D47164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122fed-4606-4ec8-90ef-13536176a38c"/>
    <ds:schemaRef ds:uri="83fd27e2-85d6-4e10-9bbd-a3e555ecf2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475</Words>
  <Application>Microsoft Office PowerPoint</Application>
  <PresentationFormat>Widescreen</PresentationFormat>
  <Paragraphs>393</Paragraphs>
  <Slides>14</Slides>
  <Notes>0</Notes>
  <HiddenSlides>0</HiddenSlides>
  <MMClips>0</MMClip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Capgemini Master 2021</vt:lpstr>
      <vt:lpstr>Cover options_Section</vt:lpstr>
      <vt:lpstr>Introduction to git and github</vt:lpstr>
      <vt:lpstr>Introduction to git </vt:lpstr>
      <vt:lpstr>What is git?</vt:lpstr>
      <vt:lpstr>Let's have a quick review on what we learnt so far</vt:lpstr>
      <vt:lpstr>What is git hub? </vt:lpstr>
      <vt:lpstr>ADVANTAGES OF GIT</vt:lpstr>
      <vt:lpstr>How to create a git repository?</vt:lpstr>
      <vt:lpstr>How can we set a configuration?</vt:lpstr>
      <vt:lpstr>How to do a git commit?</vt:lpstr>
      <vt:lpstr>PowerPoint Presentation</vt:lpstr>
      <vt:lpstr>Difference between git and github</vt:lpstr>
      <vt:lpstr>Snippets of code. </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template</dc:subject>
  <dc:creator/>
  <cp:lastModifiedBy/>
  <cp:revision>215</cp:revision>
  <dcterms:created xsi:type="dcterms:W3CDTF">2021-08-02T07:28:47Z</dcterms:created>
  <dcterms:modified xsi:type="dcterms:W3CDTF">2021-08-02T11:18:42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B8F1B61B4E349B1D07C13E9DB8DAC</vt:lpwstr>
  </property>
</Properties>
</file>